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6"/>
  </p:notesMasterIdLst>
  <p:sldIdLst>
    <p:sldId id="264" r:id="rId3"/>
    <p:sldId id="258" r:id="rId4"/>
    <p:sldId id="257" r:id="rId5"/>
  </p:sldIdLst>
  <p:sldSz cx="12192000" cy="6858000"/>
  <p:notesSz cx="6858000" cy="9144000"/>
  <p:defaultTextStyle>
    <a:defPPr>
      <a:defRPr lang="LID4096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1D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ID4096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38AF15-E6E1-49F6-B2C4-789B215D1AD6}" type="datetimeFigureOut">
              <a:rPr lang="LID4096" smtClean="0"/>
              <a:t>06/18/2024</a:t>
            </a:fld>
            <a:endParaRPr lang="LID4096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LID4096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LID4096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ID4096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BF0EDB-B42B-4B6F-A944-7DB72B9D0EC2}" type="slidenum">
              <a:rPr lang="LID4096" smtClean="0"/>
              <a:t>‹N°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7874505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AD530B-8EC8-4709-B322-33BDFA1ED3D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353B4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353B48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5307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0FF3878-C59F-7438-59EF-9DD0CEBBF8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LID4096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BBADE05E-69C7-4F9E-3D90-60D80C787A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LID4096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63F0B8A-E8D6-A1BA-C4FC-8AB5FD74E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423C4-4A9F-4A12-B529-6E351F17F87B}" type="datetimeFigureOut">
              <a:rPr lang="LID4096" smtClean="0"/>
              <a:t>06/18/2024</a:t>
            </a:fld>
            <a:endParaRPr lang="LID4096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8C4017-14EA-D2BA-B768-24BC95FBCF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4E6860C-9B90-DE0E-1F92-1502178C1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E308A-66B2-4C6E-8341-27F9F44FCC00}" type="slidenum">
              <a:rPr lang="LID4096" smtClean="0"/>
              <a:t>‹N°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5215111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A1AC610-BA98-CB0E-6C2F-0AD37A771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LID4096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C98701EF-260D-1A06-EE81-FE640FD3A7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LID4096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295C251-7492-6563-DD54-8FCE7D722D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423C4-4A9F-4A12-B529-6E351F17F87B}" type="datetimeFigureOut">
              <a:rPr lang="LID4096" smtClean="0"/>
              <a:t>06/18/2024</a:t>
            </a:fld>
            <a:endParaRPr lang="LID4096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B34AE2C-4095-7E76-AB03-182A4174D5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A9F8717-ED3D-12E2-0853-A5FEEDEB2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E308A-66B2-4C6E-8341-27F9F44FCC00}" type="slidenum">
              <a:rPr lang="LID4096" smtClean="0"/>
              <a:t>‹N°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3165242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F09C5429-46E6-39DC-14FF-4E20F3949B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LID4096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6A33820E-8D01-4B93-47AA-A327B79796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LID4096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C343B6D-EEA4-F7B4-5BD4-0AA739B089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423C4-4A9F-4A12-B529-6E351F17F87B}" type="datetimeFigureOut">
              <a:rPr lang="LID4096" smtClean="0"/>
              <a:t>06/18/2024</a:t>
            </a:fld>
            <a:endParaRPr lang="LID4096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769EC09-C9C2-1395-131C-C17A4C16E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BEC8285-F353-7571-C770-3C6344B25D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E308A-66B2-4C6E-8341-27F9F44FCC00}" type="slidenum">
              <a:rPr lang="LID4096" smtClean="0"/>
              <a:t>‹N°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8001211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3741231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C0EBCA8-0643-BC2C-45E6-3AB703FE4B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LID4096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A59D602-359D-C1DC-C6E2-F60AB49B17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LID4096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3D9CAA-136D-EA4D-7EDA-22F90A2A8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423C4-4A9F-4A12-B529-6E351F17F87B}" type="datetimeFigureOut">
              <a:rPr lang="LID4096" smtClean="0"/>
              <a:t>06/18/2024</a:t>
            </a:fld>
            <a:endParaRPr lang="LID4096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D9819C6-E875-26AE-2E53-C5E5DE0228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856DD17-A6F3-CD19-9C7F-7057B766A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E308A-66B2-4C6E-8341-27F9F44FCC00}" type="slidenum">
              <a:rPr lang="LID4096" smtClean="0"/>
              <a:t>‹N°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100310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D66DB92-37E0-0E90-B00E-DB861543C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LID4096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AEF6F93-FC8A-1334-B043-E30E15D750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9B9E8F7-A939-97A4-E8C7-E6BC13A857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423C4-4A9F-4A12-B529-6E351F17F87B}" type="datetimeFigureOut">
              <a:rPr lang="LID4096" smtClean="0"/>
              <a:t>06/18/2024</a:t>
            </a:fld>
            <a:endParaRPr lang="LID4096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02B7BC4-58D5-864E-0FF6-E6381A2A1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4746C3E-5CF8-712D-B750-0ECE9CCB0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E308A-66B2-4C6E-8341-27F9F44FCC00}" type="slidenum">
              <a:rPr lang="LID4096" smtClean="0"/>
              <a:t>‹N°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7817206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F1A19AF-02E0-AF76-C404-6D4F5612C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LID4096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12424B7-FB99-DF5E-EB55-748E41D145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LID4096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1E41C05-6F71-B48E-1ACC-B1FC46F732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LID4096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5A21BE2-BB15-5296-6B3C-3BC5D2614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423C4-4A9F-4A12-B529-6E351F17F87B}" type="datetimeFigureOut">
              <a:rPr lang="LID4096" smtClean="0"/>
              <a:t>06/18/2024</a:t>
            </a:fld>
            <a:endParaRPr lang="LID4096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341D3A6-2B06-09EF-B56F-71D79CD3B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221B4D2-AACF-3AFC-3A8F-2E1D9961B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E308A-66B2-4C6E-8341-27F9F44FCC00}" type="slidenum">
              <a:rPr lang="LID4096" smtClean="0"/>
              <a:t>‹N°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1205838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B2965C2-BC75-5004-983B-435B2402A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LID4096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C0A4B72-7B43-197C-BBF0-A6D65022EE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A535015-9CFD-D1A0-A1E5-77DB5C27F5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LID4096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7E83ECF-FE74-EA82-3BBD-6D87532C6D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F509540-4ECE-6FB3-A795-BA16691CBD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LID4096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493D39A3-9274-75A2-F074-6D4665DD2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423C4-4A9F-4A12-B529-6E351F17F87B}" type="datetimeFigureOut">
              <a:rPr lang="LID4096" smtClean="0"/>
              <a:t>06/18/2024</a:t>
            </a:fld>
            <a:endParaRPr lang="LID4096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00E2A59-71ED-4CA9-30CD-DA1B97D41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70C69D8-1C3C-A36F-ACBC-108FD0538A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E308A-66B2-4C6E-8341-27F9F44FCC00}" type="slidenum">
              <a:rPr lang="LID4096" smtClean="0"/>
              <a:t>‹N°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2358514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27F6036-48A8-6838-0592-75512DDF7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LID4096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A537099-B915-A060-BA6F-82B29E43C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423C4-4A9F-4A12-B529-6E351F17F87B}" type="datetimeFigureOut">
              <a:rPr lang="LID4096" smtClean="0"/>
              <a:t>06/18/2024</a:t>
            </a:fld>
            <a:endParaRPr lang="LID4096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0839C6C-80D9-412F-BA86-38AC516DD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538F943-FB6F-E510-53DF-D59E3F4EA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E308A-66B2-4C6E-8341-27F9F44FCC00}" type="slidenum">
              <a:rPr lang="LID4096" smtClean="0"/>
              <a:t>‹N°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869484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7ECE7FE-D370-4DCE-0149-38F29F1A93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423C4-4A9F-4A12-B529-6E351F17F87B}" type="datetimeFigureOut">
              <a:rPr lang="LID4096" smtClean="0"/>
              <a:t>06/18/2024</a:t>
            </a:fld>
            <a:endParaRPr lang="LID4096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4D9662B-20D4-2847-F536-4438ACDA3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60E4587-C626-577F-B3C5-0F3909377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E308A-66B2-4C6E-8341-27F9F44FCC00}" type="slidenum">
              <a:rPr lang="LID4096" smtClean="0"/>
              <a:t>‹N°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656899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840474-B1B7-CA80-B92D-816E5F48BF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LID4096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C1931D7-862C-5E53-EFF8-BE4C62341E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LID4096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B3B215D-12E4-9CC8-0BF1-A9D22CEAD1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03992E5-ED1A-9C07-1940-30C52A111C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423C4-4A9F-4A12-B529-6E351F17F87B}" type="datetimeFigureOut">
              <a:rPr lang="LID4096" smtClean="0"/>
              <a:t>06/18/2024</a:t>
            </a:fld>
            <a:endParaRPr lang="LID4096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BF78978-2D3C-E844-B8D3-9D356182FD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DE117B2-8896-D24A-F0DF-74A4FC001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E308A-66B2-4C6E-8341-27F9F44FCC00}" type="slidenum">
              <a:rPr lang="LID4096" smtClean="0"/>
              <a:t>‹N°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6100238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1AED16A-020E-DB24-C739-2E4A75DAA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LID4096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161161B3-CFD6-CCC9-1153-67331799C03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LID4096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F27FA14-961D-816A-84E9-ABC7D159C3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70A97FA-4861-90EC-9EDC-1D1C37C07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423C4-4A9F-4A12-B529-6E351F17F87B}" type="datetimeFigureOut">
              <a:rPr lang="LID4096" smtClean="0"/>
              <a:t>06/18/2024</a:t>
            </a:fld>
            <a:endParaRPr lang="LID4096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BE882DE-4B02-CEE7-5DB7-146137254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82FFD56-E566-03ED-B2CD-9B1EDEF97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E308A-66B2-4C6E-8341-27F9F44FCC00}" type="slidenum">
              <a:rPr lang="LID4096" smtClean="0"/>
              <a:t>‹N°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6953715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.x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A9400DCA-704F-03A4-E6E7-6CB54A8D8F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LID4096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6F8B6EC-1D70-6894-8475-E8A9238587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LID4096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367E15-E458-18FB-8EA1-5F10C727CC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8423C4-4A9F-4A12-B529-6E351F17F87B}" type="datetimeFigureOut">
              <a:rPr lang="LID4096" smtClean="0"/>
              <a:t>06/18/2024</a:t>
            </a:fld>
            <a:endParaRPr lang="LID4096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80999D5-EA73-9410-5CDA-DAB6D1A279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ID4096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61AE0E8-ACF4-9288-DCB7-82BBADE97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9E308A-66B2-4C6E-8341-27F9F44FCC00}" type="slidenum">
              <a:rPr lang="LID4096" smtClean="0"/>
              <a:t>‹N°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686613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ID4096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2037D5-9F9A-4CC9-98B0-68BDD36B0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51" imgH="450" progId="TCLayout.ActiveDocument.1">
                  <p:embed/>
                </p:oleObj>
              </mc:Choice>
              <mc:Fallback>
                <p:oleObj name="think-cell Slide" r:id="rId6" imgW="451" imgH="45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2037D5-9F9A-4CC9-98B0-68BDD36B0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E612F5A-FB47-481F-9DE2-4A75D564380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6/18/2024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17BCDC7-33E6-4E0D-8470-BD003682192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372941696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2400" kern="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5pPr>
      <a:lvl6pPr marL="1008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8pPr>
      <a:lvl9pPr marL="176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1pPr>
      <a:lvl2pPr marL="25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2pPr>
      <a:lvl3pPr marL="50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3pPr>
      <a:lvl4pPr marL="756000" algn="l" defTabSz="914400" rtl="0" eaLnBrk="1" latinLnBrk="0" hangingPunct="1">
        <a:defRPr sz="200" kern="0">
          <a:solidFill>
            <a:schemeClr val="tx1"/>
          </a:solidFill>
          <a:latin typeface="+mn-lt"/>
          <a:ea typeface="+mn-ea"/>
          <a:cs typeface="+mn-cs"/>
        </a:defRPr>
      </a:lvl4pPr>
      <a:lvl5pPr marL="1008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5pPr>
      <a:lvl6pPr marL="1260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6pPr>
      <a:lvl7pPr marL="151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7pPr>
      <a:lvl8pPr marL="176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8pPr>
      <a:lvl9pPr marL="2016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4">
          <p15:clr>
            <a:srgbClr val="C35EA4"/>
          </p15:clr>
        </p15:guide>
        <p15:guide id="2" pos="7328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A1D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4752237" y="219323"/>
            <a:ext cx="4604170" cy="49244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ropostion</a:t>
            </a: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de Logo </a:t>
            </a:r>
            <a:endParaRPr kumimoji="0" lang="de-DE" altLang="de-DE" sz="3200" b="1" i="0" u="none" strike="noStrike" kern="1200" cap="none" spc="300" normalizeH="0" baseline="0" noProof="0" dirty="0">
              <a:ln>
                <a:noFill/>
              </a:ln>
              <a:solidFill>
                <a:srgbClr val="7F8FA1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 dirty="0" err="1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4C31449-A6DD-47DD-912E-64882D9E16C3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7485" r="17485"/>
          <a:stretch/>
        </p:blipFill>
        <p:spPr>
          <a:xfrm>
            <a:off x="558207" y="1635541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24" name="TextBox 6">
            <a:extLst>
              <a:ext uri="{FF2B5EF4-FFF2-40B4-BE49-F238E27FC236}">
                <a16:creationId xmlns:a16="http://schemas.microsoft.com/office/drawing/2014/main" id="{705E4269-AC07-48E3-8F85-59FC615593CC}"/>
              </a:ext>
            </a:extLst>
          </p:cNvPr>
          <p:cNvSpPr txBox="1"/>
          <p:nvPr/>
        </p:nvSpPr>
        <p:spPr>
          <a:xfrm>
            <a:off x="7157169" y="1377000"/>
            <a:ext cx="3748129" cy="49244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altLang="de-DE" sz="3200" u="sng" spc="300" dirty="0" err="1">
                <a:solidFill>
                  <a:srgbClr val="F5F6FA"/>
                </a:solidFill>
                <a:latin typeface="Segoe UI Semibold"/>
              </a:rPr>
              <a:t>JeGarDE</a:t>
            </a:r>
            <a:r>
              <a:rPr lang="fr-FR" altLang="de-DE" sz="3200" u="sng" spc="300" dirty="0">
                <a:solidFill>
                  <a:srgbClr val="F5F6FA"/>
                </a:solidFill>
                <a:latin typeface="Segoe UI Semibold"/>
              </a:rPr>
              <a:t> Demain </a:t>
            </a:r>
            <a:endParaRPr kumimoji="0" lang="fr-FR" altLang="de-DE" sz="3200" b="0" i="0" u="sng" strike="noStrike" kern="1200" cap="none" spc="300" normalizeH="0" baseline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5ECB1A7F-13A3-4102-A5A4-5DD2E53379B9}"/>
              </a:ext>
            </a:extLst>
          </p:cNvPr>
          <p:cNvSpPr txBox="1"/>
          <p:nvPr/>
        </p:nvSpPr>
        <p:spPr>
          <a:xfrm>
            <a:off x="1342933" y="879931"/>
            <a:ext cx="418704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6000" b="0" i="0" u="none" strike="noStrike" kern="1200" cap="none" spc="0" normalizeH="0" baseline="0" noProof="0" dirty="0">
                <a:ln>
                  <a:noFill/>
                </a:ln>
                <a:solidFill>
                  <a:srgbClr val="353B4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!</a:t>
            </a:r>
          </a:p>
        </p:txBody>
      </p:sp>
      <p:sp>
        <p:nvSpPr>
          <p:cNvPr id="29" name="TextBox 16">
            <a:extLst>
              <a:ext uri="{FF2B5EF4-FFF2-40B4-BE49-F238E27FC236}">
                <a16:creationId xmlns:a16="http://schemas.microsoft.com/office/drawing/2014/main" id="{1019B3B1-470B-4C52-80F5-216313333FCA}"/>
              </a:ext>
            </a:extLst>
          </p:cNvPr>
          <p:cNvSpPr txBox="1"/>
          <p:nvPr/>
        </p:nvSpPr>
        <p:spPr>
          <a:xfrm rot="502354">
            <a:off x="1793387" y="879932"/>
            <a:ext cx="418704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6000" b="0" i="0" u="none" strike="noStrike" kern="1200" cap="none" spc="0" normalizeH="0" baseline="0" noProof="0" dirty="0">
                <a:ln>
                  <a:noFill/>
                </a:ln>
                <a:solidFill>
                  <a:srgbClr val="353B48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!</a:t>
            </a:r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A232EBF2-3323-4454-934E-260D3DDEE7AF}"/>
              </a:ext>
            </a:extLst>
          </p:cNvPr>
          <p:cNvSpPr txBox="1"/>
          <p:nvPr/>
        </p:nvSpPr>
        <p:spPr>
          <a:xfrm>
            <a:off x="6703196" y="4051754"/>
            <a:ext cx="3389543" cy="129266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ALLONS A LA DECOUVER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Des Esquis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2709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A1D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245DC1C6-3D69-C8B6-13DF-293E52C21C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810" y="167476"/>
            <a:ext cx="7605223" cy="4778150"/>
          </a:xfrm>
          <a:prstGeom prst="rect">
            <a:avLst/>
          </a:prstGeom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42DD3BFE-609D-C2E8-DDCE-AA6A0985F722}"/>
              </a:ext>
            </a:extLst>
          </p:cNvPr>
          <p:cNvSpPr txBox="1"/>
          <p:nvPr/>
        </p:nvSpPr>
        <p:spPr>
          <a:xfrm>
            <a:off x="8150942" y="167476"/>
            <a:ext cx="4041058" cy="560153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lvl="0"/>
            <a:r>
              <a:rPr kumimoji="0" lang="fr-FR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01</a:t>
            </a:r>
          </a:p>
          <a:p>
            <a:pPr lvl="0"/>
            <a:endParaRPr kumimoji="0" lang="fr-FR" altLang="de-DE" sz="2800" b="0" i="0" u="none" strike="noStrike" kern="1200" cap="none" spc="300" normalizeH="0" baseline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lvl="0"/>
            <a:r>
              <a:rPr kumimoji="0" lang="fr-FR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e</a:t>
            </a:r>
            <a:r>
              <a:rPr kumimoji="0" lang="fr-FR" altLang="de-DE" sz="2800" b="0" i="0" u="none" strike="noStrike" kern="1200" cap="none" spc="300" normalizeH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logo dans sa forme nature représente des feuilles, symboles de floraisons et de labeur, par qui ont peut voir un beau couché de soleil, symbole de l’avenir…</a:t>
            </a:r>
          </a:p>
          <a:p>
            <a:pPr lvl="0"/>
            <a:r>
              <a:rPr lang="fr-FR" altLang="de-DE" sz="2800" spc="300" dirty="0">
                <a:solidFill>
                  <a:srgbClr val="F5F6FA"/>
                </a:solidFill>
                <a:latin typeface="Segoe UI Semibold"/>
              </a:rPr>
              <a:t>De Demain</a:t>
            </a:r>
            <a:endParaRPr kumimoji="0" lang="fr-FR" altLang="de-DE" sz="2800" b="0" i="0" u="none" strike="noStrike" kern="1200" cap="none" spc="300" normalizeH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4103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A1D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7E45B703-B4F8-E7DE-9EB2-21C22A50F2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367" y="182795"/>
            <a:ext cx="6463040" cy="4507192"/>
          </a:xfrm>
          <a:prstGeom prst="rect">
            <a:avLst/>
          </a:prstGeom>
        </p:spPr>
      </p:pic>
      <p:sp>
        <p:nvSpPr>
          <p:cNvPr id="6" name="TextBox 6">
            <a:extLst>
              <a:ext uri="{FF2B5EF4-FFF2-40B4-BE49-F238E27FC236}">
                <a16:creationId xmlns:a16="http://schemas.microsoft.com/office/drawing/2014/main" id="{DF1EBE2F-BB9D-1253-FFB6-90B3E159129D}"/>
              </a:ext>
            </a:extLst>
          </p:cNvPr>
          <p:cNvSpPr txBox="1"/>
          <p:nvPr/>
        </p:nvSpPr>
        <p:spPr>
          <a:xfrm>
            <a:off x="8150942" y="167476"/>
            <a:ext cx="4041058" cy="430887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lvl="0"/>
            <a:r>
              <a:rPr kumimoji="0" lang="fr-FR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02</a:t>
            </a:r>
          </a:p>
          <a:p>
            <a:pPr lvl="0"/>
            <a:endParaRPr kumimoji="0" lang="fr-FR" altLang="de-DE" sz="2800" b="0" i="0" u="none" strike="noStrike" kern="1200" cap="none" spc="300" normalizeH="0" baseline="0" noProof="0" dirty="0">
              <a:ln>
                <a:noFill/>
              </a:ln>
              <a:solidFill>
                <a:srgbClr val="F5F6FA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lvl="0"/>
            <a:r>
              <a:rPr kumimoji="0" lang="fr-FR" altLang="de-DE" sz="2800" b="0" i="0" u="none" strike="noStrike" kern="1200" cap="none" spc="300" normalizeH="0" baseline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e</a:t>
            </a:r>
            <a:r>
              <a:rPr kumimoji="0" lang="fr-FR" altLang="de-DE" sz="2800" b="0" i="0" u="none" strike="noStrike" kern="1200" cap="none" spc="300" normalizeH="0" noProof="0" dirty="0">
                <a:ln>
                  <a:noFill/>
                </a:ln>
                <a:solidFill>
                  <a:srgbClr val="F5F6FA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logo avec une dominance du vert fait montre d’une porte vers l’avenir, montrant votre rôle de garant de l’avenir à travers l’innovation!</a:t>
            </a:r>
          </a:p>
        </p:txBody>
      </p:sp>
    </p:spTree>
    <p:extLst>
      <p:ext uri="{BB962C8B-B14F-4D97-AF65-F5344CB8AC3E}">
        <p14:creationId xmlns:p14="http://schemas.microsoft.com/office/powerpoint/2010/main" val="3363598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09A9FD79-4AD2-4296-A2DD-9F92A25C9D11}" vid="{BFDEAB75-776D-4FD4-B1CD-15298D2A28B5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75</Words>
  <Application>Microsoft Office PowerPoint</Application>
  <PresentationFormat>Grand écran</PresentationFormat>
  <Paragraphs>14</Paragraphs>
  <Slides>3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11" baseType="lpstr">
      <vt:lpstr>Arial</vt:lpstr>
      <vt:lpstr>Calibri</vt:lpstr>
      <vt:lpstr>Calibri Light</vt:lpstr>
      <vt:lpstr>Segoe UI Black</vt:lpstr>
      <vt:lpstr>Segoe UI Semibold</vt:lpstr>
      <vt:lpstr>Thème Office</vt:lpstr>
      <vt:lpstr>Level up! PowerPoint</vt:lpstr>
      <vt:lpstr>think-cell Slide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ossou Léopold TOTON</dc:creator>
  <cp:lastModifiedBy>Dossou Léopold TOTON</cp:lastModifiedBy>
  <cp:revision>2</cp:revision>
  <dcterms:created xsi:type="dcterms:W3CDTF">2024-06-18T18:48:30Z</dcterms:created>
  <dcterms:modified xsi:type="dcterms:W3CDTF">2024-06-18T18:57:02Z</dcterms:modified>
</cp:coreProperties>
</file>